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66" r:id="rId3"/>
    <p:sldId id="265" r:id="rId4"/>
    <p:sldId id="261" r:id="rId5"/>
    <p:sldId id="262" r:id="rId6"/>
    <p:sldId id="26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9" autoAdjust="0"/>
    <p:restoredTop sz="94660"/>
  </p:normalViewPr>
  <p:slideViewPr>
    <p:cSldViewPr snapToGrid="0">
      <p:cViewPr varScale="1">
        <p:scale>
          <a:sx n="77" d="100"/>
          <a:sy n="77" d="100"/>
        </p:scale>
        <p:origin x="34" y="2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0F78B-B40F-4A48-A907-36DF4776D46A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92DB5-4A68-474A-A3DE-EB10ACE18A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6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577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658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438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53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624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image" Target="../media/image1.jpeg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08FE04-4A7B-4634-847E-A9A53287B9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4E80F12-35AA-4388-B142-0FE30C2040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5D6DE7-3F1C-4120-9390-7DF2938B6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CFB044-A643-4E87-B9DF-D66D83684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4C6BC3-B29B-435C-AE89-DEABC31C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451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427432-FF7C-4DCF-978E-8C14380BE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8EA154D-22C9-41C7-8B61-0DAB1AFAB2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AB7ECD-151D-4B06-916B-6CC72D21E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F534E3-CD0A-47FB-8CB1-419ACAA0A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7A6D76-AE9E-41CF-8C37-0DFD24856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88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A79CB18-4707-45A0-A015-4B495A0D82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590D68F-660C-4F8A-89F1-47F5D43C74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F990631-86AC-4B27-BCFA-7E0A2EC74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C0D10-4DA6-4A32-86DF-C4E5982AB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E98E06-6C3B-47D8-9CEE-67D632337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162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47CF6F4-2BD6-4A81-A238-D333A02B982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301" y="-2799"/>
            <a:ext cx="8350861" cy="557674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EAE0D61-A55C-412E-9EFB-B13DA8FEF26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147" y="0"/>
            <a:ext cx="3866854" cy="5626912"/>
          </a:xfrm>
          <a:prstGeom prst="rect">
            <a:avLst/>
          </a:prstGeom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12" cstate="print"/>
          <a:srcRect l="2165" t="59176" r="480" b="1076"/>
          <a:stretch>
            <a:fillRect/>
          </a:stretch>
        </p:blipFill>
        <p:spPr>
          <a:xfrm>
            <a:off x="-25302" y="4119685"/>
            <a:ext cx="12237701" cy="2777060"/>
          </a:xfrm>
          <a:prstGeom prst="rect">
            <a:avLst/>
          </a:prstGeom>
        </p:spPr>
      </p:pic>
      <p:grpSp>
        <p:nvGrpSpPr>
          <p:cNvPr id="2" name="Gruppieren 24"/>
          <p:cNvGrpSpPr/>
          <p:nvPr/>
        </p:nvGrpSpPr>
        <p:grpSpPr>
          <a:xfrm>
            <a:off x="7655888" y="469032"/>
            <a:ext cx="4270046" cy="6269447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</p:grp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595341" y="5157121"/>
            <a:ext cx="8948833" cy="315792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28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Changemanagement </a:t>
            </a:r>
            <a:r>
              <a:rPr lang="de-DE" noProof="0" dirty="0" err="1"/>
              <a:t>basics</a:t>
            </a:r>
            <a:r>
              <a:rPr lang="de-DE" noProof="0" dirty="0"/>
              <a:t> &amp; </a:t>
            </a:r>
            <a:r>
              <a:rPr lang="de-DE" noProof="0" dirty="0" err="1"/>
              <a:t>leadership</a:t>
            </a:r>
            <a:r>
              <a:rPr lang="de-DE" noProof="0" dirty="0"/>
              <a:t> </a:t>
            </a:r>
            <a:r>
              <a:rPr lang="de-DE" noProof="0" dirty="0" err="1"/>
              <a:t>challenge</a:t>
            </a:r>
            <a:endParaRPr lang="de-DE" noProof="0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/>
          </p:nvPr>
        </p:nvSpPr>
        <p:spPr>
          <a:xfrm>
            <a:off x="595483" y="6057569"/>
            <a:ext cx="8948691" cy="328570"/>
          </a:xfrm>
        </p:spPr>
        <p:txBody>
          <a:bodyPr/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12" baseline="0"/>
            </a:lvl1pPr>
            <a:lvl2pPr>
              <a:defRPr sz="912"/>
            </a:lvl2pPr>
            <a:lvl3pPr>
              <a:defRPr sz="912"/>
            </a:lvl3pPr>
            <a:lvl4pPr>
              <a:defRPr sz="912"/>
            </a:lvl4pPr>
            <a:lvl5pPr>
              <a:defRPr sz="912"/>
            </a:lvl5pPr>
          </a:lstStyle>
          <a:p>
            <a:pPr marL="0" marR="0" lvl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912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12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7062015 – Wolfgang P. Schmitt</a:t>
            </a:r>
          </a:p>
        </p:txBody>
      </p:sp>
    </p:spTree>
    <p:extLst>
      <p:ext uri="{BB962C8B-B14F-4D97-AF65-F5344CB8AC3E}">
        <p14:creationId xmlns:p14="http://schemas.microsoft.com/office/powerpoint/2010/main" val="2649052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974601-C9EB-4311-B0C7-F56456F76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D1D94B8-47FB-457A-BABE-997ADDE2A2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F9CEB9-0C70-43DE-B87B-F9F24BE95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85DAF2-290F-4911-A06B-24144F41F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935524-27DA-4BF0-A199-E5E43960B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102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30E969-3B64-4FFF-833C-836884F73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854CDF-9CE3-49EA-A445-29B30558F9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8BD03E-D4F2-4BD9-8F60-C5405DA28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BCC857-1597-4D96-BA09-F23477A06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0CFD5A-3789-4784-834F-50296444E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199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A1FE83-FB72-40DB-8104-7000382F5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13A405-C5F9-45DC-9C93-39B5E22A24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C676BC-4337-4636-9F0D-088D2BC7A2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2256134-4D54-4DFE-97B0-BB0EC0C21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5F991D-84A8-4E96-B4D0-C453BDA03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69F4A6-2DA5-4073-9557-222E43226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33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19481B-F764-4F68-B7E1-16FFA94D6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F2E21-B310-43F4-AA4A-E949146E9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B9BC7D-934F-4601-91AD-476B2BAABD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5548C-6E4C-47ED-BED6-D1DB65A047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941B877-ABFD-4DF9-A241-E456DC127B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2D13E85-D7CC-41D7-87D6-9CFA301BB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54A13F6-C365-4006-B999-61D14E489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5FECF6-83E7-48B9-A66B-813F9508F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444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0A4C3A-B38B-46B8-B056-8C70C91EF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96E7C5-B591-411A-835B-0ED3B004E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8461C-B4E0-46EB-98B8-A8A5D1A11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4ED19A-8A4E-4DAC-B5D5-A7974341D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590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6C641BD-E6CA-4F12-8D92-5DE7EF064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493335-2B53-4EC7-A8CD-5827D7795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A39C3A-170A-4CE3-A669-411101AA4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47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06F0F8-DE88-4B01-BE19-8E782D23E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8283D4-3B28-412D-872D-76FB4DF7A6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0CF5D20-E694-4F47-9D3B-4EDC5F051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B456A9-A3A1-45EE-BC6C-3B882E8B2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EDD22C-BA54-4B95-8352-AE0D5565D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69D53A3-62AB-4DB3-ACB0-ADDE2A1EA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064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2CF09-E1A6-465E-A0CC-005E05FD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2AC168-72FE-43E6-BCB2-CA4E740144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E09A6A-812F-4390-8307-92015FFD8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EF79578-1E0B-4932-B194-95F6CD20D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8152A23-208C-4C79-A6EA-7972F355D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D07E479-3EB4-4936-BFED-FFE7D9CEB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876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3F4577C-336C-4E36-89E8-8AB72D5E0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62E595-19A6-4EF8-BA3E-7C13EFD620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6EBBCD-5214-4663-B474-CB9D998626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8FE5-5AD8-4BA0-807D-70B45C13D5E8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33F193-6B5E-4FC6-B16C-8BF897862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4626D0-2270-4424-A9F8-BD6042A69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607A0-3BB0-4040-B86F-AAD7D609A42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604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Untertitel 24"/>
          <p:cNvSpPr>
            <a:spLocks noGrp="1"/>
          </p:cNvSpPr>
          <p:nvPr>
            <p:ph type="subTitle" idx="1"/>
          </p:nvPr>
        </p:nvSpPr>
        <p:spPr>
          <a:xfrm>
            <a:off x="595341" y="5088350"/>
            <a:ext cx="8948833" cy="387798"/>
          </a:xfrm>
        </p:spPr>
        <p:txBody>
          <a:bodyPr/>
          <a:lstStyle/>
          <a:p>
            <a:r>
              <a:rPr lang="tr-TR" sz="2800" dirty="0">
                <a:solidFill>
                  <a:srgbClr val="707070"/>
                </a:solidFill>
                <a:latin typeface="Arial" panose="020B0604020202020204" pitchFamily="34" charset="0"/>
                <a:ea typeface="Batang" pitchFamily="18" charset="-127"/>
                <a:cs typeface="Arial" panose="020B0604020202020204" pitchFamily="34" charset="0"/>
              </a:rPr>
              <a:t>Başarılı bir ekip için gerekli 8 özellik</a:t>
            </a:r>
            <a:endParaRPr lang="en-US" sz="2800" dirty="0">
              <a:solidFill>
                <a:srgbClr val="707070"/>
              </a:solidFill>
              <a:latin typeface="Arial" panose="020B0604020202020204" pitchFamily="34" charset="0"/>
              <a:ea typeface="Batang" pitchFamily="18" charset="-127"/>
              <a:cs typeface="Arial" panose="020B0604020202020204" pitchFamily="34" charset="0"/>
            </a:endParaRP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1"/>
          </p:nvPr>
        </p:nvSpPr>
        <p:spPr>
          <a:xfrm>
            <a:off x="656626" y="6429701"/>
            <a:ext cx="8948691" cy="328396"/>
          </a:xfrm>
        </p:spPr>
        <p:txBody>
          <a:bodyPr/>
          <a:lstStyle/>
          <a:p>
            <a:pPr>
              <a:defRPr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Eylül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2017– Wolfgang Schmitt / </a:t>
            </a:r>
            <a:r>
              <a:rPr lang="tr-TR" sz="1200" dirty="0">
                <a:latin typeface="Arial" panose="020B0604020202020204" pitchFamily="34" charset="0"/>
                <a:ea typeface="Batang" pitchFamily="18" charset="-127"/>
                <a:cs typeface="Arial" panose="020B0604020202020204" pitchFamily="34" charset="0"/>
              </a:rPr>
              <a:t>Ç</a:t>
            </a:r>
            <a:r>
              <a:rPr lang="de-DE" sz="1200" dirty="0" err="1">
                <a:latin typeface="Arial" panose="020B0604020202020204" pitchFamily="34" charset="0"/>
                <a:ea typeface="Batang" pitchFamily="18" charset="-127"/>
                <a:cs typeface="Arial" panose="020B0604020202020204" pitchFamily="34" charset="0"/>
              </a:rPr>
              <a:t>e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viri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Behiza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Bilgen Benli</a:t>
            </a:r>
          </a:p>
          <a:p>
            <a:pPr lvl="0">
              <a:defRPr/>
            </a:pP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0939723" y="5778800"/>
            <a:ext cx="1070440" cy="1077391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8066385" y="6063457"/>
            <a:ext cx="6096000" cy="58349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             „Change </a:t>
            </a:r>
            <a:r>
              <a:rPr lang="de-DE" sz="1596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o</a:t>
            </a: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sz="1596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grow</a:t>
            </a: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"</a:t>
            </a:r>
            <a:b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</a:t>
            </a:r>
            <a:r>
              <a:rPr lang="de-DE" sz="1596" b="1" i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 Training  Consulting  Coaching</a:t>
            </a:r>
            <a:endParaRPr lang="de-DE" sz="1596" dirty="0">
              <a:solidFill>
                <a:srgbClr val="0B5B35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ctrTitle" idx="4294967295"/>
          </p:nvPr>
        </p:nvSpPr>
        <p:spPr>
          <a:xfrm>
            <a:off x="500919" y="4456713"/>
            <a:ext cx="8948833" cy="631637"/>
          </a:xfrm>
        </p:spPr>
        <p:txBody>
          <a:bodyPr>
            <a:normAutofit/>
          </a:bodyPr>
          <a:lstStyle/>
          <a:p>
            <a:r>
              <a:rPr lang="tr-TR" sz="3600" dirty="0">
                <a:latin typeface="Arial" panose="020B0604020202020204" pitchFamily="34" charset="0"/>
                <a:ea typeface="Batang" pitchFamily="18" charset="-127"/>
                <a:cs typeface="Arial" panose="020B0604020202020204" pitchFamily="34" charset="0"/>
              </a:rPr>
              <a:t>Harika Bir Ekipte Çalışmak...(2)</a:t>
            </a:r>
            <a:endParaRPr lang="en-US" sz="4104" dirty="0">
              <a:latin typeface="Arial" panose="020B0604020202020204" pitchFamily="34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01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08122" y="6420074"/>
            <a:ext cx="1860027" cy="3506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6539" indent="-32559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2367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3315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4262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5208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6155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7103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28050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100" dirty="0"/>
              <a:t>Harika bir ekipte çalışmak</a:t>
            </a:r>
            <a:r>
              <a:rPr lang="nb-NO" altLang="de-DE" sz="1100" dirty="0"/>
              <a:t>..        www.changetogrow.de</a:t>
            </a:r>
            <a:endParaRPr lang="en-GB" altLang="de-DE" sz="11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1118" y="6541752"/>
            <a:ext cx="255038" cy="14036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6539" indent="-32559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2367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3315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4262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5208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6155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7103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28050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6246" y="6650895"/>
            <a:ext cx="65" cy="2278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1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78033" y="5491645"/>
            <a:ext cx="833669" cy="84061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ED18E8-8E30-4E2B-B520-CCE42A71D86B}"/>
              </a:ext>
            </a:extLst>
          </p:cNvPr>
          <p:cNvSpPr txBox="1"/>
          <p:nvPr/>
        </p:nvSpPr>
        <p:spPr>
          <a:xfrm>
            <a:off x="1418607" y="2545379"/>
            <a:ext cx="3036471" cy="1775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Uyumlu olmayı reddediyorlar 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–</a:t>
            </a:r>
            <a:r>
              <a:rPr lang="tr-TR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farklı yaklaşım ve tutumları seviyorlar</a:t>
            </a:r>
            <a:endParaRPr lang="de-DE" sz="2734" b="1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DFD3AD7-2E4A-4376-93B0-16061F9C372C}"/>
              </a:ext>
            </a:extLst>
          </p:cNvPr>
          <p:cNvSpPr txBox="1"/>
          <p:nvPr/>
        </p:nvSpPr>
        <p:spPr>
          <a:xfrm>
            <a:off x="844413" y="885263"/>
            <a:ext cx="4184859" cy="51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4" b="1" i="1" dirty="0"/>
              <a:t>5 </a:t>
            </a:r>
            <a:r>
              <a:rPr lang="tr-TR" sz="2734" b="1" i="1" dirty="0"/>
              <a:t>Farklı olmayı benimserler</a:t>
            </a:r>
            <a:endParaRPr lang="de-DE" sz="1823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F11E7E-DA6D-4C98-A8CC-5A0E3EFFF1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420" y="605561"/>
            <a:ext cx="5216925" cy="521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53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100" dirty="0"/>
              <a:t>Harika bir ekipte çalışmak</a:t>
            </a:r>
            <a:r>
              <a:rPr lang="nb-NO" altLang="de-DE" sz="1100" dirty="0"/>
              <a:t>..        www.changetogrow.de</a:t>
            </a:r>
            <a:endParaRPr lang="en-GB" altLang="de-DE" sz="11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7AEFF4-445A-4BE4-87C4-40739A490890}"/>
              </a:ext>
            </a:extLst>
          </p:cNvPr>
          <p:cNvSpPr txBox="1"/>
          <p:nvPr/>
        </p:nvSpPr>
        <p:spPr>
          <a:xfrm>
            <a:off x="841639" y="2690106"/>
            <a:ext cx="3038074" cy="2618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Özgün kapsamlarının ötesine geçerler – </a:t>
            </a:r>
            <a:r>
              <a:rPr lang="tr-TR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bu 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üreçte öğrendiklerini hemen uygularlar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B55870A-6CFF-4589-BA52-CB883828893D}"/>
              </a:ext>
            </a:extLst>
          </p:cNvPr>
          <p:cNvSpPr txBox="1"/>
          <p:nvPr/>
        </p:nvSpPr>
        <p:spPr>
          <a:xfrm>
            <a:off x="349043" y="1167205"/>
            <a:ext cx="4187069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6 </a:t>
            </a:r>
            <a:r>
              <a:rPr lang="tr-TR" sz="2736" b="1" i="1" dirty="0"/>
              <a:t>Beklenmedik öğrenme biçimini uygularlar</a:t>
            </a:r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0F07961-BE83-436E-8E79-402FA7463EA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798" y="1167204"/>
            <a:ext cx="6499036" cy="390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666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100" dirty="0"/>
              <a:t>Harika bir ekipte çalışmak</a:t>
            </a:r>
            <a:r>
              <a:rPr lang="nb-NO" altLang="de-DE" sz="1100" dirty="0"/>
              <a:t>..        www.changetogrow.de</a:t>
            </a:r>
            <a:endParaRPr lang="en-GB" altLang="de-DE" sz="11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6374513-F1BA-4C81-BEE3-80BD18E18B59}"/>
              </a:ext>
            </a:extLst>
          </p:cNvPr>
          <p:cNvSpPr txBox="1"/>
          <p:nvPr/>
        </p:nvSpPr>
        <p:spPr>
          <a:xfrm>
            <a:off x="8085872" y="3511099"/>
            <a:ext cx="3038074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Ortak değer ve bakış açıları vardır!</a:t>
            </a:r>
            <a:endParaRPr lang="de-DE" sz="2736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9832DF6-C199-4C37-BD50-54CD452214FB}"/>
              </a:ext>
            </a:extLst>
          </p:cNvPr>
          <p:cNvSpPr txBox="1"/>
          <p:nvPr/>
        </p:nvSpPr>
        <p:spPr>
          <a:xfrm>
            <a:off x="7820087" y="719720"/>
            <a:ext cx="4187069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7 </a:t>
            </a:r>
            <a:r>
              <a:rPr lang="tr-TR" sz="2736" b="1" i="1" dirty="0"/>
              <a:t>Ekip üyeleri ilişkilerini güçlendirirler</a:t>
            </a:r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AC2937-7486-4820-9B56-6511BA4BE8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44" y="801820"/>
            <a:ext cx="7480619" cy="498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76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100" dirty="0"/>
              <a:t>Harika bir ekipte çalışmak</a:t>
            </a:r>
            <a:r>
              <a:rPr lang="nb-NO" altLang="de-DE" sz="1100" dirty="0"/>
              <a:t>..        www.changetogrow.de</a:t>
            </a:r>
            <a:endParaRPr lang="en-GB" altLang="de-DE" sz="11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D05C7A-370E-4F54-B27F-538376B286D4}"/>
              </a:ext>
            </a:extLst>
          </p:cNvPr>
          <p:cNvSpPr txBox="1"/>
          <p:nvPr/>
        </p:nvSpPr>
        <p:spPr>
          <a:xfrm>
            <a:off x="1087938" y="2936404"/>
            <a:ext cx="3038074" cy="1355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Beklentileri aşan sonuçlar çıkarıyorlar!</a:t>
            </a:r>
            <a:endParaRPr lang="de-DE" sz="2736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0E8F97-98E1-4C51-BCFF-BBE243A0CE08}"/>
              </a:ext>
            </a:extLst>
          </p:cNvPr>
          <p:cNvSpPr txBox="1"/>
          <p:nvPr/>
        </p:nvSpPr>
        <p:spPr>
          <a:xfrm>
            <a:off x="677441" y="733423"/>
            <a:ext cx="4187069" cy="513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8 </a:t>
            </a:r>
            <a:r>
              <a:rPr lang="tr-TR" sz="2736" b="1" i="1" dirty="0"/>
              <a:t>Harika sonuçları vardır</a:t>
            </a:r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7C02BC-757E-4367-907A-C37E6F34371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410" y="801820"/>
            <a:ext cx="6610780" cy="441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26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100" dirty="0"/>
              <a:t>Harika bir ekipte çalışmak</a:t>
            </a:r>
            <a:r>
              <a:rPr lang="nb-NO" altLang="de-DE" sz="1100" dirty="0"/>
              <a:t>..        www.changetogrow.de</a:t>
            </a:r>
            <a:endParaRPr lang="en-GB" altLang="de-DE" sz="11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1A03F1A-4F58-4943-82A3-F4846297865C}"/>
              </a:ext>
            </a:extLst>
          </p:cNvPr>
          <p:cNvSpPr txBox="1"/>
          <p:nvPr/>
        </p:nvSpPr>
        <p:spPr>
          <a:xfrm>
            <a:off x="8348853" y="4330836"/>
            <a:ext cx="3038074" cy="513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Kısa bir özet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…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17FC1B1-4406-4E5D-954F-48525072574A}"/>
              </a:ext>
            </a:extLst>
          </p:cNvPr>
          <p:cNvSpPr txBox="1"/>
          <p:nvPr/>
        </p:nvSpPr>
        <p:spPr>
          <a:xfrm>
            <a:off x="1087937" y="555522"/>
            <a:ext cx="6978448" cy="4723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736" b="1" i="1" dirty="0"/>
              <a:t>Harika ekipler birden bire, doğal bir şekilde ortaya çıkmazlar.</a:t>
            </a:r>
            <a:endParaRPr lang="de-DE" sz="2736" b="1" i="1" dirty="0"/>
          </a:p>
          <a:p>
            <a:pPr algn="ctr"/>
            <a:endParaRPr lang="tr-TR" sz="2736" b="1" i="1" dirty="0"/>
          </a:p>
          <a:p>
            <a:pPr algn="ctr"/>
            <a:r>
              <a:rPr lang="tr-TR" sz="2736" b="1" i="1" dirty="0"/>
              <a:t>Harika ekipler, teknik, kişileri arası iletişimsel ve duygusal zeka becerilerine sahip üyelere ihtiyaç duyarlar.</a:t>
            </a:r>
          </a:p>
          <a:p>
            <a:pPr algn="ctr"/>
            <a:endParaRPr lang="tr-TR" sz="2736" b="1" i="1" dirty="0"/>
          </a:p>
          <a:p>
            <a:pPr algn="ctr"/>
            <a:r>
              <a:rPr lang="tr-TR" sz="2736" b="1" i="1" dirty="0"/>
              <a:t>Harika takımlar </a:t>
            </a:r>
            <a:r>
              <a:rPr lang="de-DE" sz="2736" b="1" i="1" dirty="0"/>
              <a:t>(A) ekip çalışmasının ödüllendirildiği ve (B) yıkıcı takım davranışının düzeltildiği bir ortam yaratan kıdemli liderlik çabalarına ihtiyaç duyar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7B39FC9-5372-4E50-9E8E-65C3573594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014" y="344840"/>
            <a:ext cx="1748437" cy="37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35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</Words>
  <Application>Microsoft Office PowerPoint</Application>
  <PresentationFormat>Breitbild</PresentationFormat>
  <Paragraphs>33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Batang</vt:lpstr>
      <vt:lpstr>Arial</vt:lpstr>
      <vt:lpstr>Calibri</vt:lpstr>
      <vt:lpstr>Calibri Light</vt:lpstr>
      <vt:lpstr>Roboto Condensed</vt:lpstr>
      <vt:lpstr>Office</vt:lpstr>
      <vt:lpstr>think-cell Folie</vt:lpstr>
      <vt:lpstr>Harika Bir Ekipte Çalışmak...(2)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in a great team… (2)</dc:title>
  <dc:creator>Wolfgang Philipp Schmitt</dc:creator>
  <cp:lastModifiedBy>Wolfgang Philipp Schmitt</cp:lastModifiedBy>
  <cp:revision>14</cp:revision>
  <dcterms:created xsi:type="dcterms:W3CDTF">2017-11-08T09:31:51Z</dcterms:created>
  <dcterms:modified xsi:type="dcterms:W3CDTF">2017-12-18T13:34:14Z</dcterms:modified>
</cp:coreProperties>
</file>